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38"/>
  </p:notesMasterIdLst>
  <p:handoutMasterIdLst>
    <p:handoutMasterId r:id="rId39"/>
  </p:handoutMasterIdLst>
  <p:sldIdLst>
    <p:sldId id="332" r:id="rId8"/>
    <p:sldId id="341" r:id="rId9"/>
    <p:sldId id="342" r:id="rId10"/>
    <p:sldId id="343" r:id="rId11"/>
    <p:sldId id="344" r:id="rId12"/>
    <p:sldId id="345" r:id="rId13"/>
    <p:sldId id="346" r:id="rId14"/>
    <p:sldId id="367" r:id="rId15"/>
    <p:sldId id="366" r:id="rId16"/>
    <p:sldId id="347" r:id="rId17"/>
    <p:sldId id="348" r:id="rId18"/>
    <p:sldId id="349" r:id="rId19"/>
    <p:sldId id="358" r:id="rId20"/>
    <p:sldId id="350" r:id="rId21"/>
    <p:sldId id="351" r:id="rId22"/>
    <p:sldId id="352" r:id="rId23"/>
    <p:sldId id="353" r:id="rId24"/>
    <p:sldId id="354" r:id="rId25"/>
    <p:sldId id="355" r:id="rId26"/>
    <p:sldId id="356" r:id="rId27"/>
    <p:sldId id="359" r:id="rId28"/>
    <p:sldId id="360" r:id="rId29"/>
    <p:sldId id="365" r:id="rId30"/>
    <p:sldId id="361" r:id="rId31"/>
    <p:sldId id="362" r:id="rId32"/>
    <p:sldId id="363" r:id="rId33"/>
    <p:sldId id="364" r:id="rId34"/>
    <p:sldId id="357" r:id="rId35"/>
    <p:sldId id="331" r:id="rId36"/>
    <p:sldId id="340" r:id="rId37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5"/>
            <p14:sldId id="346"/>
            <p14:sldId id="367"/>
            <p14:sldId id="366"/>
            <p14:sldId id="347"/>
            <p14:sldId id="348"/>
            <p14:sldId id="349"/>
            <p14:sldId id="358"/>
            <p14:sldId id="350"/>
            <p14:sldId id="351"/>
            <p14:sldId id="352"/>
            <p14:sldId id="353"/>
            <p14:sldId id="354"/>
            <p14:sldId id="355"/>
            <p14:sldId id="356"/>
            <p14:sldId id="359"/>
            <p14:sldId id="360"/>
            <p14:sldId id="365"/>
            <p14:sldId id="361"/>
            <p14:sldId id="362"/>
            <p14:sldId id="363"/>
            <p14:sldId id="364"/>
            <p14:sldId id="357"/>
            <p14:sldId id="331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A64A"/>
    <a:srgbClr val="5598D0"/>
    <a:srgbClr val="C38E75"/>
    <a:srgbClr val="202020"/>
    <a:srgbClr val="389E7E"/>
    <a:srgbClr val="01557E"/>
    <a:srgbClr val="FD7D7B"/>
    <a:srgbClr val="9078FC"/>
    <a:srgbClr val="F5F5F5"/>
    <a:srgbClr val="00F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21" autoAdjust="0"/>
    <p:restoredTop sz="85116" autoAdjust="0"/>
  </p:normalViewPr>
  <p:slideViewPr>
    <p:cSldViewPr>
      <p:cViewPr varScale="1">
        <p:scale>
          <a:sx n="52" d="100"/>
          <a:sy n="52" d="100"/>
        </p:scale>
        <p:origin x="944" y="4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7868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2/2015 11:05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623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2/2015 11:0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93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2/2015 11:0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10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2/2015 11:0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hyperlink" Target="http://caniuse.com/" TargetMode="External"/><Relationship Id="rId5" Type="http://schemas.openxmlformats.org/officeDocument/2006/relationships/hyperlink" Target="http://exploringjs.com/" TargetMode="External"/><Relationship Id="rId4" Type="http://schemas.openxmlformats.org/officeDocument/2006/relationships/hyperlink" Target="https://github.com/getify/You-Dont-Know-JS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rogramación funcional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&amp;&amp;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S6</a:t>
            </a:r>
            <a:endParaRPr lang="es-ES" sz="6119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437" y="1363662"/>
            <a:ext cx="10058399" cy="6705600"/>
          </a:xfrm>
        </p:spPr>
        <p:txBody>
          <a:bodyPr/>
          <a:lstStyle/>
          <a:p>
            <a:pPr algn="ctr"/>
            <a:r>
              <a:rPr lang="en-US" sz="8800" dirty="0" err="1" smtClean="0"/>
              <a:t>Retrocompatibl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sz="8800" dirty="0"/>
              <a:t/>
            </a:r>
            <a:br>
              <a:rPr lang="en-US" sz="8800" dirty="0"/>
            </a:br>
            <a:r>
              <a:rPr lang="en-US" sz="8800" dirty="0" err="1" smtClean="0"/>
              <a:t>Enorm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4756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968" y="1668462"/>
            <a:ext cx="1136446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fo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= 2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eclaracion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b=2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2, b=1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0,b=0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e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new </a:t>
            </a:r>
            <a:r>
              <a:rPr lang="es-ES" b="1" strike="sngStrik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lack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=3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sh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=[];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136517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.z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3; //Se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acer</a:t>
            </a: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seal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adi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freez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ca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187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201399" cy="2932919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6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3291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revious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5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AE67FE"/>
            </a:gs>
            <a:gs pos="100000">
              <a:srgbClr val="65DF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2811462"/>
            <a:ext cx="116585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??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6175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4299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=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define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1430001" cy="1879041"/>
          </a:xfrm>
          <a:prstGeom prst="rect">
            <a:avLst/>
          </a:prstGeo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8915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FFA4"/>
            </a:gs>
            <a:gs pos="100000">
              <a:srgbClr val="00FFFD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06198" cy="451360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x==1, a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1, b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signación desestructurada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6388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490878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2.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&gt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altera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umer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=&gt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la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 lambda con =&gt;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8206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4530471"/>
          </a:xfrm>
        </p:spPr>
        <p:txBody>
          <a:bodyPr/>
          <a:lstStyle/>
          <a:p>
            <a:r>
              <a:rPr lang="es-ES" dirty="0" smtClean="0"/>
              <a:t>Evitar </a:t>
            </a:r>
            <a:r>
              <a:rPr lang="es-ES" dirty="0" err="1" smtClean="0"/>
              <a:t>side-effects</a:t>
            </a:r>
            <a:endParaRPr lang="es-ES" dirty="0" smtClean="0"/>
          </a:p>
          <a:p>
            <a:pPr lvl="1"/>
            <a:r>
              <a:rPr lang="es-ES" dirty="0" smtClean="0"/>
              <a:t>Una función siempre devuelve el mismo resultado</a:t>
            </a:r>
          </a:p>
          <a:p>
            <a:r>
              <a:rPr lang="es-ES" dirty="0" smtClean="0"/>
              <a:t>Estilo declarativo</a:t>
            </a:r>
          </a:p>
          <a:p>
            <a:r>
              <a:rPr lang="es-ES" dirty="0" smtClean="0"/>
              <a:t>Expresiones lambda</a:t>
            </a:r>
          </a:p>
          <a:p>
            <a:r>
              <a:rPr lang="es-ES" dirty="0" smtClean="0"/>
              <a:t>Mejor concurrencia</a:t>
            </a:r>
          </a:p>
          <a:p>
            <a:r>
              <a:rPr lang="es-ES" dirty="0" smtClean="0"/>
              <a:t>Lenguajes especializados : F#, </a:t>
            </a:r>
            <a:r>
              <a:rPr lang="es-ES" dirty="0" err="1" smtClean="0"/>
              <a:t>Haskell</a:t>
            </a:r>
            <a:endParaRPr lang="es-E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gramación</a:t>
            </a:r>
            <a:r>
              <a:rPr lang="en-U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al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487680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ordenadas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s-E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,z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of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4455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502329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matematicas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port function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cs typeface="Times New Roman" panose="02020603050405020304" pitchFamily="18" charset="0"/>
              </a:rPr>
              <a:t>//main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”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ematicas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endParaRPr lang="en-US" sz="2800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m</a:t>
            </a: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atematicas.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  <a:endParaRPr lang="en-US" sz="28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dulo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1041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66332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constructor(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x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x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y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ulo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h.sqrt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+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809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13638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tends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Real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Imaginaria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  <a:endParaRPr lang="es-E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3905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s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123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g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03094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et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(); </a:t>
            </a:r>
            <a:r>
              <a:rPr lang="es-E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o </a:t>
            </a:r>
            <a:r>
              <a:rPr lang="es-ES" dirty="0" err="1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eakSet</a:t>
            </a:r>
            <a:endParaRPr lang="es-ES" dirty="0" smtClean="0">
              <a:solidFill>
                <a:srgbClr val="57A64A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add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size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3019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50872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598D0"/>
                </a:solidFill>
              </a:rPr>
              <a:t>var</a:t>
            </a:r>
            <a:r>
              <a:rPr lang="es-ES" dirty="0"/>
              <a:t> u32 = </a:t>
            </a:r>
            <a:r>
              <a:rPr lang="es-ES" dirty="0">
                <a:solidFill>
                  <a:srgbClr val="5598D0"/>
                </a:solidFill>
              </a:rPr>
              <a:t>new</a:t>
            </a:r>
            <a:r>
              <a:rPr lang="es-ES" dirty="0"/>
              <a:t> Uint32Array(16); //Float64Array, </a:t>
            </a:r>
            <a:r>
              <a:rPr lang="es-ES" dirty="0" smtClean="0"/>
              <a:t>Int16Array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5598D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</a:rPr>
              <a:t>u32[2]=3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0]=“a”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trike="sngStrike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20]=4;</a:t>
            </a:r>
            <a:endParaRPr lang="es-ES" strike="sngStrike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yped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262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2837" y="3677934"/>
            <a:ext cx="11889564" cy="917575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emplat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809037" y="59011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ymbols</a:t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55637" y="649643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terators</a:t>
            </a: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27037" y="5554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xi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5684837" y="531325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ew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umbe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</a:p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bjec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th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P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4770437" y="81305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mis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532437" y="258383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ynamic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pert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am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0537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52502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sual Studio </a:t>
            </a:r>
            <a:r>
              <a:rPr lang="es-ES" sz="3199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de</a:t>
            </a: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– Soporta ES6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Node.js, NPM, babel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Los últimos navegadores: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ge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(para Windows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Insiders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)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irefox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Developer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ition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hrome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anary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erramienta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útil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424107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64380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4"/>
              </a:rPr>
              <a:t>https://</a:t>
            </a:r>
            <a:r>
              <a:rPr lang="en-US" sz="2400" dirty="0" smtClean="0">
                <a:solidFill>
                  <a:schemeClr val="bg1"/>
                </a:solidFill>
                <a:hlinkClick r:id="rId4"/>
              </a:rPr>
              <a:t>github.com/getify/You-Dont-Know-JS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dirty="0">
                <a:solidFill>
                  <a:schemeClr val="bg1"/>
                </a:solidFill>
                <a:hlinkClick r:id="rId5"/>
              </a:rPr>
              <a:t>http://</a:t>
            </a:r>
            <a:r>
              <a:rPr lang="es-ES" sz="2400" dirty="0" smtClean="0">
                <a:solidFill>
                  <a:schemeClr val="bg1"/>
                </a:solidFill>
                <a:hlinkClick r:id="rId5"/>
              </a:rPr>
              <a:t>exploringjs.com</a:t>
            </a:r>
            <a:endParaRPr lang="es-E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 err="1">
                <a:solidFill>
                  <a:schemeClr val="bg1"/>
                </a:solidFill>
              </a:rPr>
              <a:t>Youtube</a:t>
            </a:r>
            <a:r>
              <a:rPr lang="en-US" sz="2400" dirty="0">
                <a:solidFill>
                  <a:schemeClr val="bg1"/>
                </a:solidFill>
              </a:rPr>
              <a:t>: @</a:t>
            </a:r>
            <a:r>
              <a:rPr lang="en-US" sz="2400" dirty="0" err="1">
                <a:solidFill>
                  <a:schemeClr val="bg1"/>
                </a:solidFill>
              </a:rPr>
              <a:t>mpjm</a:t>
            </a:r>
            <a:r>
              <a:rPr lang="en-US" sz="2400" dirty="0">
                <a:solidFill>
                  <a:schemeClr val="bg1"/>
                </a:solidFill>
              </a:rPr>
              <a:t>, @</a:t>
            </a:r>
            <a:r>
              <a:rPr lang="en-US" sz="2400" dirty="0" err="1" smtClean="0">
                <a:solidFill>
                  <a:schemeClr val="bg1"/>
                </a:solidFill>
              </a:rPr>
              <a:t>jsconf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u="sng" dirty="0" smtClean="0">
                <a:solidFill>
                  <a:schemeClr val="bg1"/>
                </a:solidFill>
              </a:rPr>
              <a:t>dev.modern.ie,</a:t>
            </a:r>
            <a:r>
              <a:rPr lang="en-US" sz="2400" dirty="0" smtClean="0">
                <a:solidFill>
                  <a:schemeClr val="bg1"/>
                </a:solidFill>
              </a:rPr>
              <a:t> MDN</a:t>
            </a: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6"/>
              </a:rPr>
              <a:t>http://</a:t>
            </a:r>
            <a:r>
              <a:rPr lang="en-US" sz="2400" dirty="0" smtClean="0">
                <a:solidFill>
                  <a:schemeClr val="bg1"/>
                </a:solidFill>
                <a:hlinkClick r:id="rId6"/>
              </a:rPr>
              <a:t>caniuse.com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curs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vanzad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de JavaScript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5355312"/>
          </a:xfrm>
        </p:spPr>
        <p:txBody>
          <a:bodyPr/>
          <a:lstStyle/>
          <a:p>
            <a:r>
              <a:rPr lang="es-ES" dirty="0" smtClean="0"/>
              <a:t>No es un lenguaje funcional puro</a:t>
            </a:r>
          </a:p>
          <a:p>
            <a:pPr lvl="1"/>
            <a:r>
              <a:rPr lang="es-ES" dirty="0" smtClean="0"/>
              <a:t>Evaluación perezosa</a:t>
            </a:r>
          </a:p>
          <a:p>
            <a:pPr lvl="1"/>
            <a:r>
              <a:rPr lang="es-ES" dirty="0" smtClean="0"/>
              <a:t>Inmutabilidad</a:t>
            </a:r>
          </a:p>
          <a:p>
            <a:r>
              <a:rPr lang="es-ES" dirty="0" smtClean="0"/>
              <a:t>Es </a:t>
            </a:r>
            <a:r>
              <a:rPr lang="es-ES" dirty="0" err="1" smtClean="0"/>
              <a:t>multiparadigma</a:t>
            </a:r>
            <a:endParaRPr lang="es-ES" dirty="0"/>
          </a:p>
          <a:p>
            <a:pPr lvl="1"/>
            <a:r>
              <a:rPr lang="es-ES" dirty="0" smtClean="0"/>
              <a:t>Imperativo</a:t>
            </a:r>
          </a:p>
          <a:p>
            <a:pPr lvl="1"/>
            <a:r>
              <a:rPr lang="es-ES" dirty="0" smtClean="0"/>
              <a:t>Orientado a objetos</a:t>
            </a:r>
          </a:p>
          <a:p>
            <a:pPr lvl="1"/>
            <a:r>
              <a:rPr lang="es-ES" dirty="0" smtClean="0"/>
              <a:t>Funcional</a:t>
            </a:r>
          </a:p>
          <a:p>
            <a:r>
              <a:rPr lang="es-ES" dirty="0" smtClean="0"/>
              <a:t>Podemos usar en cada momento el estilo mas adecuado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 JS un lenguaje funcional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66128" y="4411662"/>
            <a:ext cx="68852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uamnet/techtalks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506199" cy="3791807"/>
          </a:xfrm>
          <a:solidFill>
            <a:srgbClr val="202020">
              <a:alpha val="70000"/>
            </a:srgbClr>
          </a:solidFill>
          <a:ln w="12700" cap="sq" cmpd="thickThin">
            <a:solidFill>
              <a:schemeClr val="tx1"/>
            </a:solidFill>
            <a:bevel/>
          </a:ln>
        </p:spPr>
        <p:txBody>
          <a:bodyPr/>
          <a:lstStyle/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Las funciones son de primera clase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Y también son de orden superior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f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f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B5CEA8"/>
                </a:solidFill>
                <a:ea typeface="Times New Roman" panose="02020603050405020304" pitchFamily="18" charset="0"/>
              </a:rPr>
              <a:t>3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suma,1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57A64A"/>
                </a:solidFill>
                <a:ea typeface="Times New Roman" panose="02020603050405020304" pitchFamily="18" charset="0"/>
              </a:rPr>
              <a:t>//</a:t>
            </a:r>
            <a:r>
              <a:rPr lang="en-US" dirty="0">
                <a:solidFill>
                  <a:srgbClr val="57A64A"/>
                </a:solidFill>
                <a:ea typeface="Times New Roman" panose="02020603050405020304" pitchFamily="18" charset="0"/>
              </a:rPr>
              <a:t>4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897062"/>
            <a:ext cx="11887200" cy="3741217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Forma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 dice: 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7200" cy="38549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Pedro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lte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9566" cy="306442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1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Mensajes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dex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ray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=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})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Reduce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887200" cy="4926733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y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scope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ope = scope || window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s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]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for 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2,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uments.length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&lt;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++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gs.push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arguments[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return function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    </a:t>
            </a:r>
            <a:r>
              <a:rPr lang="en-US" dirty="0" err="1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n.apply</a:t>
            </a: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scope, </a:t>
            </a:r>
            <a:r>
              <a:rPr lang="es-ES" dirty="0" err="1"/>
              <a:t>args.concat</a:t>
            </a:r>
            <a:r>
              <a:rPr lang="es-ES" dirty="0"/>
              <a:t>(</a:t>
            </a:r>
            <a:r>
              <a:rPr lang="es-ES" dirty="0" err="1"/>
              <a:t>slice.apply</a:t>
            </a:r>
            <a:r>
              <a:rPr lang="es-ES" dirty="0"/>
              <a:t>(</a:t>
            </a:r>
            <a:r>
              <a:rPr lang="es-ES" dirty="0" err="1"/>
              <a:t>arguments</a:t>
            </a:r>
            <a:r>
              <a:rPr lang="es-ES" dirty="0" smtClean="0"/>
              <a:t>))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}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dirty="0" smtClean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en-U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r</a:t>
            </a:r>
            <a:r>
              <a:rPr lang="en-U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dd3=curry(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ar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this, 3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dd3(4);  </a:t>
            </a:r>
            <a:r>
              <a:rPr lang="en-U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7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urry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65554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8800" dirty="0" smtClean="0"/>
              <a:t>EcmaScript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Coming soon  to a browser near you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380037" y="3192462"/>
            <a:ext cx="533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3549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230e9df3-be65-4c73-a93b-d1236ebd677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12a172fe-0250-434a-85cf-03b10810c5e5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71</TotalTime>
  <Words>842</Words>
  <Application>Microsoft Office PowerPoint</Application>
  <PresentationFormat>Custom</PresentationFormat>
  <Paragraphs>302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Avenir LT Pro 45 Book</vt:lpstr>
      <vt:lpstr>Calibri</vt:lpstr>
      <vt:lpstr>Consolas</vt:lpstr>
      <vt:lpstr>ＭＳ Ｐゴシック</vt:lpstr>
      <vt:lpstr>Segoe UI</vt:lpstr>
      <vt:lpstr>Segoe UI Light</vt:lpstr>
      <vt:lpstr>Times New Roman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rogramación funcional</vt:lpstr>
      <vt:lpstr>Es JS un lenguaje funcional?</vt:lpstr>
      <vt:lpstr>Funciones</vt:lpstr>
      <vt:lpstr>Trabajando con datos: Map</vt:lpstr>
      <vt:lpstr>Trabajando con datos: Filter</vt:lpstr>
      <vt:lpstr>Trabajando con datos: Reduce</vt:lpstr>
      <vt:lpstr>Curry</vt:lpstr>
      <vt:lpstr>EcmaScript6 Coming soon  to a browser near you</vt:lpstr>
      <vt:lpstr>Retrocompatible  Enorme  </vt:lpstr>
      <vt:lpstr>Let is the new black var</vt:lpstr>
      <vt:lpstr>Const</vt:lpstr>
      <vt:lpstr>Const</vt:lpstr>
      <vt:lpstr>Spread / Rest</vt:lpstr>
      <vt:lpstr>Spread / Rest</vt:lpstr>
      <vt:lpstr>Argumentos por defecto</vt:lpstr>
      <vt:lpstr>Argumentos por defecto</vt:lpstr>
      <vt:lpstr>Asignación desestructurada</vt:lpstr>
      <vt:lpstr>Funciones lambda con =&gt;</vt:lpstr>
      <vt:lpstr>For of</vt:lpstr>
      <vt:lpstr>Modulos</vt:lpstr>
      <vt:lpstr>Clases</vt:lpstr>
      <vt:lpstr>Clases</vt:lpstr>
      <vt:lpstr>Maps &amp; Sets</vt:lpstr>
      <vt:lpstr>Maps &amp; Sets</vt:lpstr>
      <vt:lpstr>Typed arrays</vt:lpstr>
      <vt:lpstr>Template strings </vt:lpstr>
      <vt:lpstr>Herramientas útiles</vt:lpstr>
      <vt:lpstr>Recursos avanzados de JavaScript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21</cp:revision>
  <dcterms:created xsi:type="dcterms:W3CDTF">2015-04-29T17:53:46Z</dcterms:created>
  <dcterms:modified xsi:type="dcterms:W3CDTF">2015-10-02T11:0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